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handoutMasterIdLst>
    <p:handoutMasterId r:id="rId36"/>
  </p:handoutMasterIdLst>
  <p:sldIdLst>
    <p:sldId id="271" r:id="rId3"/>
    <p:sldId id="295" r:id="rId4"/>
    <p:sldId id="298" r:id="rId5"/>
    <p:sldId id="296" r:id="rId6"/>
    <p:sldId id="297" r:id="rId7"/>
    <p:sldId id="306" r:id="rId8"/>
    <p:sldId id="330" r:id="rId9"/>
    <p:sldId id="307" r:id="rId10"/>
    <p:sldId id="308" r:id="rId11"/>
    <p:sldId id="309" r:id="rId12"/>
    <p:sldId id="310" r:id="rId13"/>
    <p:sldId id="311" r:id="rId14"/>
    <p:sldId id="312" r:id="rId15"/>
    <p:sldId id="313" r:id="rId16"/>
    <p:sldId id="314" r:id="rId17"/>
    <p:sldId id="315" r:id="rId18"/>
    <p:sldId id="316" r:id="rId19"/>
    <p:sldId id="317" r:id="rId20"/>
    <p:sldId id="318" r:id="rId21"/>
    <p:sldId id="319" r:id="rId22"/>
    <p:sldId id="320" r:id="rId23"/>
    <p:sldId id="321" r:id="rId24"/>
    <p:sldId id="322" r:id="rId25"/>
    <p:sldId id="323" r:id="rId26"/>
    <p:sldId id="324" r:id="rId27"/>
    <p:sldId id="325" r:id="rId28"/>
    <p:sldId id="326" r:id="rId29"/>
    <p:sldId id="327" r:id="rId30"/>
    <p:sldId id="328" r:id="rId31"/>
    <p:sldId id="329" r:id="rId32"/>
    <p:sldId id="304" r:id="rId33"/>
    <p:sldId id="305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E34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4343" autoAdjust="0"/>
  </p:normalViewPr>
  <p:slideViewPr>
    <p:cSldViewPr snapToGrid="0">
      <p:cViewPr varScale="1">
        <p:scale>
          <a:sx n="65" d="100"/>
          <a:sy n="65" d="100"/>
        </p:scale>
        <p:origin x="85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6" d="100"/>
          <a:sy n="56" d="100"/>
        </p:scale>
        <p:origin x="2856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90C8BB-D8C3-49FC-A696-B8C1C4965575}" type="datetimeFigureOut">
              <a:rPr lang="en-US" smtClean="0"/>
              <a:t>24-Dec-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3AD702-A66C-45EF-B858-C1848DF37B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1506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AA1545-D724-4440-9217-E6E0C7A03971}" type="datetimeFigureOut">
              <a:rPr lang="en-US" smtClean="0"/>
              <a:t>24-Dec-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6F220D-C36F-4D16-BC11-72525244A3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8819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>
          <a:xfrm>
            <a:off x="471488" y="5334000"/>
            <a:ext cx="5861050" cy="246063"/>
          </a:xfrm>
          <a:noFill/>
        </p:spPr>
        <p:txBody>
          <a:bodyPr/>
          <a:lstStyle/>
          <a:p>
            <a:endParaRPr lang="en-US" altLang="en-US" dirty="0" smtClean="0">
              <a:latin typeface="Arial" panose="020B0604020202020204" pitchFamily="34" charset="0"/>
            </a:endParaRPr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0E0539-31DD-42F9-977D-6EAF183DEF70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0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69664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6F220D-C36F-4D16-BC11-72525244A3C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694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slideMaster" Target="../slideMasters/slideMaster2.xml"/><Relationship Id="rId18" Type="http://schemas.openxmlformats.org/officeDocument/2006/relationships/image" Target="../media/image6.png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image" Target="../media/image3.emf"/><Relationship Id="rId2" Type="http://schemas.openxmlformats.org/officeDocument/2006/relationships/tags" Target="../tags/tag31.xml"/><Relationship Id="rId16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image" Target="../media/image5.jpeg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4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513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4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432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4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776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7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107990" y="492403"/>
            <a:ext cx="5412427" cy="4468877"/>
            <a:chOff x="0" y="1231697"/>
            <a:chExt cx="3692279" cy="4063693"/>
          </a:xfrm>
        </p:grpSpPr>
        <p:pic>
          <p:nvPicPr>
            <p:cNvPr id="5" name="Picture 1485" descr="C:\Users\Krithika R\Desktop\7_273_273_90.jpg"/>
            <p:cNvPicPr>
              <a:picLocks noChangeArrowheads="1"/>
            </p:cNvPicPr>
            <p:nvPr userDrawn="1">
              <p:custDataLst>
                <p:tags r:id="rId11"/>
              </p:custDataLst>
            </p:nvPr>
          </p:nvPicPr>
          <p:blipFill rotWithShape="1">
            <a:blip r:embed="rId1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0" y="1231697"/>
              <a:ext cx="3692279" cy="4063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>
              <a:spLocks/>
            </p:cNvSpPr>
            <p:nvPr userDrawn="1">
              <p:custDataLst>
                <p:tags r:id="rId12"/>
              </p:custDataLst>
            </p:nvPr>
          </p:nvSpPr>
          <p:spPr bwMode="gray">
            <a:xfrm>
              <a:off x="0" y="1231697"/>
              <a:ext cx="3692279" cy="4063693"/>
            </a:xfrm>
            <a:prstGeom prst="rect">
              <a:avLst/>
            </a:prstGeom>
            <a:solidFill>
              <a:schemeClr val="bg1">
                <a:alpha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837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7" name="Picture 1"/>
          <p:cNvPicPr>
            <a:picLocks noChangeAspect="1" noChangeArrowheads="1"/>
          </p:cNvPicPr>
          <p:nvPr userDrawn="1"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566"/>
          <a:stretch>
            <a:fillRect/>
          </a:stretch>
        </p:blipFill>
        <p:spPr bwMode="auto">
          <a:xfrm>
            <a:off x="0" y="505361"/>
            <a:ext cx="12192000" cy="55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</a:blip>
                  <a:srcRect b="12566"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auto">
          <a:xfrm>
            <a:off x="3546371" y="505360"/>
            <a:ext cx="2160" cy="4114152"/>
          </a:xfrm>
          <a:prstGeom prst="line">
            <a:avLst/>
          </a:prstGeom>
          <a:noFill/>
          <a:ln w="1836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sp>
        <p:nvSpPr>
          <p:cNvPr id="9" name="Line 7"/>
          <p:cNvSpPr>
            <a:spLocks noChangeShapeType="1"/>
          </p:cNvSpPr>
          <p:nvPr userDrawn="1"/>
        </p:nvSpPr>
        <p:spPr bwMode="auto">
          <a:xfrm>
            <a:off x="2825002" y="505360"/>
            <a:ext cx="2160" cy="4114152"/>
          </a:xfrm>
          <a:prstGeom prst="line">
            <a:avLst/>
          </a:prstGeom>
          <a:noFill/>
          <a:ln w="3672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sp>
        <p:nvSpPr>
          <p:cNvPr id="10" name="Line 8"/>
          <p:cNvSpPr>
            <a:spLocks noChangeShapeType="1"/>
          </p:cNvSpPr>
          <p:nvPr userDrawn="1"/>
        </p:nvSpPr>
        <p:spPr bwMode="auto">
          <a:xfrm>
            <a:off x="1961087" y="505360"/>
            <a:ext cx="0" cy="4114152"/>
          </a:xfrm>
          <a:prstGeom prst="line">
            <a:avLst/>
          </a:prstGeom>
          <a:noFill/>
          <a:ln w="7308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sp>
        <p:nvSpPr>
          <p:cNvPr id="11" name="Line 9"/>
          <p:cNvSpPr>
            <a:spLocks noChangeShapeType="1"/>
          </p:cNvSpPr>
          <p:nvPr userDrawn="1"/>
        </p:nvSpPr>
        <p:spPr bwMode="auto">
          <a:xfrm>
            <a:off x="2969709" y="505360"/>
            <a:ext cx="2159" cy="4114152"/>
          </a:xfrm>
          <a:prstGeom prst="line">
            <a:avLst/>
          </a:prstGeom>
          <a:noFill/>
          <a:ln w="3672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sp>
        <p:nvSpPr>
          <p:cNvPr id="12" name="Line 10"/>
          <p:cNvSpPr>
            <a:spLocks noChangeShapeType="1"/>
          </p:cNvSpPr>
          <p:nvPr userDrawn="1"/>
        </p:nvSpPr>
        <p:spPr bwMode="auto">
          <a:xfrm>
            <a:off x="760245" y="505360"/>
            <a:ext cx="2160" cy="4114152"/>
          </a:xfrm>
          <a:prstGeom prst="line">
            <a:avLst/>
          </a:prstGeom>
          <a:noFill/>
          <a:ln w="9144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sp>
        <p:nvSpPr>
          <p:cNvPr id="13" name="Line 11"/>
          <p:cNvSpPr>
            <a:spLocks noChangeShapeType="1"/>
          </p:cNvSpPr>
          <p:nvPr userDrawn="1"/>
        </p:nvSpPr>
        <p:spPr bwMode="auto">
          <a:xfrm>
            <a:off x="328288" y="505360"/>
            <a:ext cx="2160" cy="4114152"/>
          </a:xfrm>
          <a:prstGeom prst="line">
            <a:avLst/>
          </a:prstGeom>
          <a:noFill/>
          <a:ln w="12816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graphicFrame>
        <p:nvGraphicFramePr>
          <p:cNvPr id="14" name="Object 7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2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14" name="Object 7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sz="1837" dirty="0" err="1">
              <a:solidFill>
                <a:schemeClr val="tx1"/>
              </a:solidFill>
              <a:sym typeface="Arial"/>
            </a:endParaRPr>
          </a:p>
        </p:txBody>
      </p:sp>
      <p:sp>
        <p:nvSpPr>
          <p:cNvPr id="16" name="Rectangle 15"/>
          <p:cNvSpPr/>
          <p:nvPr userDrawn="1">
            <p:custDataLst>
              <p:tags r:id="rId5"/>
            </p:custDataLst>
          </p:nvPr>
        </p:nvSpPr>
        <p:spPr bwMode="gray">
          <a:xfrm>
            <a:off x="0" y="-1620"/>
            <a:ext cx="12192000" cy="68596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37" dirty="0" err="1">
              <a:solidFill>
                <a:schemeClr val="tx1"/>
              </a:solidFill>
            </a:endParaRPr>
          </a:p>
        </p:txBody>
      </p:sp>
      <p:sp>
        <p:nvSpPr>
          <p:cNvPr id="17" name="Working Draft Tex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73416" y="259160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b="1" dirty="0" smtClean="0">
                <a:solidFill>
                  <a:schemeClr val="bg1"/>
                </a:solidFill>
                <a:latin typeface="+mn-lt"/>
                <a:ea typeface="+mn-ea"/>
              </a:rPr>
              <a:t>WORKING DRAFT</a:t>
            </a:r>
          </a:p>
        </p:txBody>
      </p:sp>
      <p:sp>
        <p:nvSpPr>
          <p:cNvPr id="18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73415" y="417895"/>
            <a:ext cx="3347070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chemeClr val="bg1"/>
                </a:solidFill>
                <a:latin typeface="+mn-lt"/>
                <a:ea typeface="+mn-ea"/>
              </a:rPr>
              <a:t>Last Modified 19/11/2013 10:33 Malay Peninsula Standard Time</a:t>
            </a:r>
            <a:endParaRPr lang="en-US" sz="918" dirty="0" smtClean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9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073415" y="578250"/>
            <a:ext cx="2553584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chemeClr val="bg1"/>
                </a:solidFill>
                <a:latin typeface="+mn-lt"/>
                <a:ea typeface="+mn-ea"/>
              </a:rPr>
              <a:t>Printed 10/24/2013 4:32 PM India Standard Time</a:t>
            </a:r>
            <a:endParaRPr lang="en-US" sz="918" dirty="0" smtClean="0">
              <a:solidFill>
                <a:schemeClr val="bg1"/>
              </a:solidFill>
              <a:latin typeface="+mn-lt"/>
              <a:ea typeface="+mn-ea"/>
            </a:endParaRPr>
          </a:p>
        </p:txBody>
      </p:sp>
      <p:grpSp>
        <p:nvGrpSpPr>
          <p:cNvPr id="20" name="McK Title Element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073416" y="4493172"/>
            <a:ext cx="6714778" cy="500502"/>
            <a:chOff x="1663" y="3104"/>
            <a:chExt cx="3109" cy="309"/>
          </a:xfrm>
        </p:grpSpPr>
        <p:sp>
          <p:nvSpPr>
            <p:cNvPr id="21" name="McK Document type"/>
            <p:cNvSpPr txBox="1">
              <a:spLocks noChangeArrowheads="1"/>
            </p:cNvSpPr>
            <p:nvPr/>
          </p:nvSpPr>
          <p:spPr bwMode="gray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dirty="0" smtClean="0">
                  <a:solidFill>
                    <a:schemeClr val="accent4"/>
                  </a:solidFill>
                  <a:latin typeface="+mn-lt"/>
                  <a:ea typeface="+mn-ea"/>
                </a:rPr>
                <a:t>Document type</a:t>
              </a:r>
            </a:p>
          </p:txBody>
        </p:sp>
        <p:sp>
          <p:nvSpPr>
            <p:cNvPr id="22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dirty="0" smtClean="0">
                  <a:solidFill>
                    <a:schemeClr val="accent4"/>
                  </a:solidFill>
                  <a:latin typeface="+mn-lt"/>
                  <a:ea typeface="+mn-ea"/>
                </a:rPr>
                <a:t>Date</a:t>
              </a:r>
            </a:p>
          </p:txBody>
        </p:sp>
      </p:grpSp>
      <p:sp>
        <p:nvSpPr>
          <p:cNvPr id="31" name="doc id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11887405" y="37255"/>
            <a:ext cx="65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endParaRPr lang="en-US" altLang="en-US" sz="714" smtClean="0">
              <a:solidFill>
                <a:schemeClr val="bg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3700489" y="4841777"/>
            <a:ext cx="8337799" cy="502445"/>
          </a:xfrm>
          <a:prstGeom prst="rect">
            <a:avLst/>
          </a:prstGeom>
        </p:spPr>
        <p:txBody>
          <a:bodyPr/>
          <a:lstStyle>
            <a:lvl1pPr>
              <a:defRPr sz="3265" b="1" baseline="0">
                <a:solidFill>
                  <a:schemeClr val="accent4"/>
                </a:solidFill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700490" y="5447551"/>
            <a:ext cx="8337798" cy="222155"/>
          </a:xfrm>
        </p:spPr>
        <p:txBody>
          <a:bodyPr/>
          <a:lstStyle>
            <a:lvl1pPr>
              <a:defRPr sz="1428" baseline="0">
                <a:solidFill>
                  <a:schemeClr val="accent4"/>
                </a:solidFill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5122" name="Picture 2" descr="http://livewire.tnb.com.my/PublishingImages/Design_v1/corpinfo/LogoInfoKit/tnb%20better%20brihgter.png"/>
          <p:cNvPicPr>
            <a:picLocks noChangeAspect="1" noChangeArrowheads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5" t="17015" r="7470" b="12794"/>
          <a:stretch/>
        </p:blipFill>
        <p:spPr bwMode="auto">
          <a:xfrm>
            <a:off x="218942" y="4873182"/>
            <a:ext cx="3327430" cy="1669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0295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6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sz="1837" dirty="0" err="1">
              <a:solidFill>
                <a:schemeClr val="tx1"/>
              </a:solidFill>
              <a:sym typeface="Arial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519789" y="6564902"/>
            <a:ext cx="158698" cy="156966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eaLnBrk="1" hangingPunct="1">
              <a:defRPr/>
            </a:pPr>
            <a:fld id="{B66ACD0A-6563-4F17-9070-FEDE0F18E1B8}" type="slidenum">
              <a:rPr lang="en-US" sz="1020" b="1" smtClean="0">
                <a:solidFill>
                  <a:srgbClr val="FFFFFF"/>
                </a:solidFill>
                <a:ea typeface="+mn-ea"/>
              </a:rPr>
              <a:pPr algn="ctr" eaLnBrk="1" hangingPunct="1">
                <a:defRPr/>
              </a:pPr>
              <a:t>‹#›</a:t>
            </a:fld>
            <a:endParaRPr lang="en-US" sz="1020" b="1" dirty="0">
              <a:solidFill>
                <a:srgbClr val="FFFFFF"/>
              </a:solidFill>
              <a:ea typeface="+mn-ea"/>
            </a:endParaRP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0039"/>
            <a:ext cx="9715673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1837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47682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7"/>
          <p:cNvSpPr>
            <a:spLocks noChangeArrowheads="1"/>
          </p:cNvSpPr>
          <p:nvPr userDrawn="1"/>
        </p:nvSpPr>
        <p:spPr bwMode="auto">
          <a:xfrm>
            <a:off x="11310807" y="6474121"/>
            <a:ext cx="439544" cy="34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fld id="{C3E47614-91C8-42CB-BD78-BE4F29B0BE6E}" type="slidenum">
              <a:rPr lang="en-US" altLang="en-US" sz="1632" b="1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en-US" altLang="en-US" sz="1632" smtClean="0"/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0038"/>
            <a:ext cx="971567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36575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9637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4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838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4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69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4-Dec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69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4-Dec-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17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4-Dec-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54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4-Dec-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034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4-Dec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326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4-Dec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01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9" Type="http://schemas.openxmlformats.org/officeDocument/2006/relationships/image" Target="../media/image2.png"/><Relationship Id="rId21" Type="http://schemas.openxmlformats.org/officeDocument/2006/relationships/tags" Target="../tags/tag15.xml"/><Relationship Id="rId34" Type="http://schemas.openxmlformats.org/officeDocument/2006/relationships/tags" Target="../tags/tag28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33" Type="http://schemas.openxmlformats.org/officeDocument/2006/relationships/tags" Target="../tags/tag27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29" Type="http://schemas.openxmlformats.org/officeDocument/2006/relationships/tags" Target="../tags/tag2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32" Type="http://schemas.openxmlformats.org/officeDocument/2006/relationships/tags" Target="../tags/tag26.xml"/><Relationship Id="rId37" Type="http://schemas.openxmlformats.org/officeDocument/2006/relationships/oleObject" Target="../embeddings/oleObject1.bin"/><Relationship Id="rId5" Type="http://schemas.openxmlformats.org/officeDocument/2006/relationships/theme" Target="../theme/theme2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tags" Target="../tags/tag22.xml"/><Relationship Id="rId36" Type="http://schemas.openxmlformats.org/officeDocument/2006/relationships/tags" Target="../tags/tag30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31" Type="http://schemas.openxmlformats.org/officeDocument/2006/relationships/tags" Target="../tags/tag25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tags" Target="../tags/tag21.xml"/><Relationship Id="rId30" Type="http://schemas.openxmlformats.org/officeDocument/2006/relationships/tags" Target="../tags/tag24.xml"/><Relationship Id="rId35" Type="http://schemas.openxmlformats.org/officeDocument/2006/relationships/tags" Target="../tags/tag29.xml"/><Relationship Id="rId8" Type="http://schemas.openxmlformats.org/officeDocument/2006/relationships/tags" Target="../tags/tag2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3D703D-626B-42F0-B55D-DB03AF1E8EF3}" type="datetimeFigureOut">
              <a:rPr lang="en-US" smtClean="0"/>
              <a:t>24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19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4" name="think-cell Slide" r:id="rId37" imgW="360" imgH="360" progId="TCLayout.ActiveDocument.1">
                  <p:embed/>
                </p:oleObj>
              </mc:Choice>
              <mc:Fallback>
                <p:oleObj name="think-cell Slide" r:id="rId37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 rot="5400000">
            <a:off x="10981279" y="2210829"/>
            <a:ext cx="223138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latin typeface="+mn-lt"/>
                <a:ea typeface="+mn-ea"/>
              </a:rPr>
              <a:t>Last Modified 19/11/2013 10:33 Malay Peninsula Standard Time</a:t>
            </a:r>
            <a:endParaRPr lang="en-US" sz="1632" dirty="0" smtClean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11243370" y="4429069"/>
            <a:ext cx="170719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latin typeface="+mn-lt"/>
                <a:ea typeface="+mn-ea"/>
              </a:rPr>
              <a:t>Printed 10/24/2013 4:32 PM India Standard Time</a:t>
            </a:r>
            <a:endParaRPr lang="en-US" sz="1632" dirty="0" smtClean="0">
              <a:latin typeface="+mn-lt"/>
              <a:ea typeface="+mn-ea"/>
            </a:endParaRPr>
          </a:p>
        </p:txBody>
      </p:sp>
      <p:grpSp>
        <p:nvGrpSpPr>
          <p:cNvPr id="1029" name="LegendBoxe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0848617" y="704590"/>
            <a:ext cx="863915" cy="1017201"/>
            <a:chOff x="4936" y="176"/>
            <a:chExt cx="400" cy="628"/>
          </a:xfrm>
        </p:grpSpPr>
        <p:sp>
          <p:nvSpPr>
            <p:cNvPr id="1076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77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/>
            </a:p>
          </p:txBody>
        </p:sp>
        <p:sp>
          <p:nvSpPr>
            <p:cNvPr id="1078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79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/>
            </a:p>
          </p:txBody>
        </p:sp>
        <p:sp>
          <p:nvSpPr>
            <p:cNvPr id="1080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81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/>
            </a:p>
          </p:txBody>
        </p:sp>
        <p:sp>
          <p:nvSpPr>
            <p:cNvPr id="1082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83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/>
            </a:p>
          </p:txBody>
        </p:sp>
      </p:grpSp>
      <p:grpSp>
        <p:nvGrpSpPr>
          <p:cNvPr id="1030" name="LegendLine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0429617" y="704590"/>
            <a:ext cx="1282913" cy="745083"/>
            <a:chOff x="4750" y="176"/>
            <a:chExt cx="594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1073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74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75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</p:grpSp>
      <p:grpSp>
        <p:nvGrpSpPr>
          <p:cNvPr id="1031" name="McKSticker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0436089" y="704590"/>
            <a:ext cx="1451377" cy="216085"/>
            <a:chOff x="7673881" y="285750"/>
            <a:chExt cx="1066894" cy="213016"/>
          </a:xfrm>
        </p:grpSpPr>
        <p:sp>
          <p:nvSpPr>
            <p:cNvPr id="1067" name="StickerRectangle"/>
            <p:cNvSpPr>
              <a:spLocks noChangeArrowheads="1"/>
            </p:cNvSpPr>
            <p:nvPr/>
          </p:nvSpPr>
          <p:spPr bwMode="gray">
            <a:xfrm>
              <a:off x="7941240" y="285750"/>
              <a:ext cx="799535" cy="2130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068" name="AutoShape 31"/>
            <p:cNvCxnSpPr>
              <a:cxnSpLocks noChangeShapeType="1"/>
              <a:stCxn id="1067" idx="2"/>
              <a:endCxn id="1067" idx="4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9" name="AutoShape 32"/>
            <p:cNvCxnSpPr>
              <a:cxnSpLocks noChangeShapeType="1"/>
              <a:stCxn id="1067" idx="4"/>
              <a:endCxn id="1067" idx="6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2" name="LegendMoon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0757898" y="704589"/>
            <a:ext cx="955650" cy="1333050"/>
            <a:chOff x="6655594" y="273840"/>
            <a:chExt cx="702570" cy="1306516"/>
          </a:xfrm>
        </p:grpSpPr>
        <p:grpSp>
          <p:nvGrpSpPr>
            <p:cNvPr id="1047" name="MoonLegend1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</p:grpSp>
        <p:grpSp>
          <p:nvGrpSpPr>
            <p:cNvPr id="1048" name="MoonLegend2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</p:grpSp>
        <p:grpSp>
          <p:nvGrpSpPr>
            <p:cNvPr id="1049" name="MoonLegend4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</p:grpSp>
        <p:grpSp>
          <p:nvGrpSpPr>
            <p:cNvPr id="1050" name="MoonLegend5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</p:grpSp>
        <p:sp>
          <p:nvSpPr>
            <p:cNvPr id="1051" name="Legend1"/>
            <p:cNvSpPr>
              <a:spLocks noChangeArrowheads="1"/>
            </p:cNvSpPr>
            <p:nvPr/>
          </p:nvSpPr>
          <p:spPr bwMode="gray">
            <a:xfrm>
              <a:off x="6976334" y="286540"/>
              <a:ext cx="38183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52" name="Legend2"/>
            <p:cNvSpPr>
              <a:spLocks noChangeArrowheads="1"/>
            </p:cNvSpPr>
            <p:nvPr/>
          </p:nvSpPr>
          <p:spPr bwMode="gray">
            <a:xfrm>
              <a:off x="6976334" y="561178"/>
              <a:ext cx="38183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53" name="Legend3"/>
            <p:cNvSpPr>
              <a:spLocks noChangeArrowheads="1"/>
            </p:cNvSpPr>
            <p:nvPr/>
          </p:nvSpPr>
          <p:spPr bwMode="gray">
            <a:xfrm>
              <a:off x="6976334" y="835817"/>
              <a:ext cx="38183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54" name="Legend4"/>
            <p:cNvSpPr>
              <a:spLocks noChangeArrowheads="1"/>
            </p:cNvSpPr>
            <p:nvPr/>
          </p:nvSpPr>
          <p:spPr bwMode="gray">
            <a:xfrm>
              <a:off x="6976334" y="1107280"/>
              <a:ext cx="38183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55" name="Legend5"/>
            <p:cNvSpPr>
              <a:spLocks noChangeArrowheads="1"/>
            </p:cNvSpPr>
            <p:nvPr/>
          </p:nvSpPr>
          <p:spPr bwMode="gray">
            <a:xfrm>
              <a:off x="6976334" y="1383505"/>
              <a:ext cx="38183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grpSp>
          <p:nvGrpSpPr>
            <p:cNvPr id="1056" name="MoonLegend3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</p:grpSp>
      </p:grpSp>
      <p:sp>
        <p:nvSpPr>
          <p:cNvPr id="1033" name="doc id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1887405" y="37255"/>
            <a:ext cx="65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endParaRPr lang="en-US" altLang="en-US" sz="714" smtClean="0">
              <a:solidFill>
                <a:srgbClr val="000000"/>
              </a:solidFill>
            </a:endParaRPr>
          </a:p>
        </p:txBody>
      </p:sp>
      <p:sp>
        <p:nvSpPr>
          <p:cNvPr id="70" name="Slide Number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1519789" y="6564902"/>
            <a:ext cx="158698" cy="156966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eaLnBrk="1" hangingPunct="1">
              <a:defRPr/>
            </a:pPr>
            <a:fld id="{9487600F-5152-4F66-8313-3FCF042A23D7}" type="slidenum">
              <a:rPr lang="en-US" sz="1020" b="1" smtClean="0">
                <a:solidFill>
                  <a:schemeClr val="bg1"/>
                </a:solidFill>
                <a:ea typeface="+mn-ea"/>
              </a:rPr>
              <a:pPr algn="ctr" eaLnBrk="1" hangingPunct="1">
                <a:defRPr/>
              </a:pPr>
              <a:t>‹#›</a:t>
            </a:fld>
            <a:endParaRPr lang="en-US" sz="1020" b="1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2" name="Title Placeholder 2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gray">
          <a:xfrm>
            <a:off x="161986" y="239722"/>
            <a:ext cx="9714723" cy="298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36" name="McK 1. On-page tracker" hidden="1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61986" y="4860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1428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61985" y="576630"/>
            <a:ext cx="586166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32" dirty="0" smtClean="0">
                <a:solidFill>
                  <a:srgbClr val="808080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038" name="Rectangle 286"/>
          <p:cNvSpPr>
            <a:spLocks noGrp="1" noChangeArrowheads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1976207" y="2500886"/>
            <a:ext cx="5853024" cy="125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grpSp>
        <p:nvGrpSpPr>
          <p:cNvPr id="1039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976207" y="1877285"/>
            <a:ext cx="5801189" cy="531276"/>
            <a:chOff x="915" y="702"/>
            <a:chExt cx="2686" cy="328"/>
          </a:xfrm>
        </p:grpSpPr>
        <p:cxnSp>
          <p:nvCxnSpPr>
            <p:cNvPr id="1045" name="AutoShape 249"/>
            <p:cNvCxnSpPr>
              <a:cxnSpLocks noChangeShapeType="1"/>
              <a:stCxn id="1046" idx="4"/>
              <a:endCxn id="1046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6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632" b="1" smtClean="0"/>
                <a:t>Title</a:t>
              </a:r>
            </a:p>
            <a:p>
              <a:pPr eaLnBrk="1" hangingPunct="1">
                <a:defRPr/>
              </a:pPr>
              <a:r>
                <a:rPr lang="en-US" altLang="en-US" sz="1632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040" name="McK Slide Elements" hidden="1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161985" y="6419049"/>
            <a:ext cx="10889648" cy="367682"/>
            <a:chOff x="75" y="3923"/>
            <a:chExt cx="644" cy="22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923"/>
              <a:ext cx="644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0" dirty="0" smtClean="0"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044" name="McK 5. Source"/>
            <p:cNvSpPr>
              <a:spLocks noChangeArrowheads="1"/>
            </p:cNvSpPr>
            <p:nvPr/>
          </p:nvSpPr>
          <p:spPr bwMode="gray">
            <a:xfrm>
              <a:off x="75" y="4051"/>
              <a:ext cx="644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66725" indent="-466725" defTabSz="895350"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2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pic>
        <p:nvPicPr>
          <p:cNvPr id="1041" name="Picture 96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0412" y="103664"/>
            <a:ext cx="1505372" cy="56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8" name="Group 97"/>
          <p:cNvGrpSpPr/>
          <p:nvPr userDrawn="1"/>
        </p:nvGrpSpPr>
        <p:grpSpPr bwMode="auto">
          <a:xfrm>
            <a:off x="11309767" y="6501433"/>
            <a:ext cx="577702" cy="285419"/>
            <a:chOff x="457200" y="1291669"/>
            <a:chExt cx="8086725" cy="4063693"/>
          </a:xfrm>
          <a:solidFill>
            <a:srgbClr val="4269B8"/>
          </a:solidFill>
        </p:grpSpPr>
        <p:sp>
          <p:nvSpPr>
            <p:cNvPr id="99" name="Rounded Rectangle 98"/>
            <p:cNvSpPr/>
            <p:nvPr/>
          </p:nvSpPr>
          <p:spPr bwMode="auto">
            <a:xfrm>
              <a:off x="457200" y="2088287"/>
              <a:ext cx="8086725" cy="3267075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837" err="1">
                <a:solidFill>
                  <a:srgbClr val="000000"/>
                </a:solidFill>
              </a:endParaRPr>
            </a:p>
          </p:txBody>
        </p:sp>
        <p:sp>
          <p:nvSpPr>
            <p:cNvPr id="100" name="Rectangle 99"/>
            <p:cNvSpPr/>
            <p:nvPr/>
          </p:nvSpPr>
          <p:spPr bwMode="auto">
            <a:xfrm>
              <a:off x="457200" y="4241957"/>
              <a:ext cx="914400" cy="1109516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837" err="1">
                <a:solidFill>
                  <a:srgbClr val="000000"/>
                </a:solidFill>
              </a:endParaRPr>
            </a:p>
          </p:txBody>
        </p:sp>
        <p:sp>
          <p:nvSpPr>
            <p:cNvPr id="101" name="Rounded Rectangle 100"/>
            <p:cNvSpPr/>
            <p:nvPr/>
          </p:nvSpPr>
          <p:spPr bwMode="auto">
            <a:xfrm>
              <a:off x="457200" y="1291669"/>
              <a:ext cx="8086725" cy="3267075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837" err="1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7949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0" fontAlgn="base" hangingPunct="0">
        <a:spcBef>
          <a:spcPct val="0"/>
        </a:spcBef>
        <a:spcAft>
          <a:spcPct val="0"/>
        </a:spcAft>
        <a:tabLst>
          <a:tab pos="275353" algn="l"/>
        </a:tabLst>
        <a:defRPr sz="1939" b="1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  <a:lvl2pPr algn="l" defTabSz="913526" rtl="0" eaLnBrk="0" fontAlgn="base" hangingPunct="0">
        <a:spcBef>
          <a:spcPct val="0"/>
        </a:spcBef>
        <a:spcAft>
          <a:spcPct val="0"/>
        </a:spcAft>
        <a:tabLst>
          <a:tab pos="275353" algn="l"/>
        </a:tabLst>
        <a:defRPr sz="1939" b="1">
          <a:solidFill>
            <a:schemeClr val="tx2"/>
          </a:solidFill>
          <a:latin typeface="Calibri" panose="020F0502020204030204" pitchFamily="34" charset="0"/>
          <a:ea typeface="ＭＳ Ｐゴシック" panose="020B0600070205080204" pitchFamily="34" charset="-128"/>
        </a:defRPr>
      </a:lvl2pPr>
      <a:lvl3pPr algn="l" defTabSz="913526" rtl="0" eaLnBrk="0" fontAlgn="base" hangingPunct="0">
        <a:spcBef>
          <a:spcPct val="0"/>
        </a:spcBef>
        <a:spcAft>
          <a:spcPct val="0"/>
        </a:spcAft>
        <a:tabLst>
          <a:tab pos="275353" algn="l"/>
        </a:tabLst>
        <a:defRPr sz="1939" b="1">
          <a:solidFill>
            <a:schemeClr val="tx2"/>
          </a:solidFill>
          <a:latin typeface="Calibri" panose="020F0502020204030204" pitchFamily="34" charset="0"/>
          <a:ea typeface="ＭＳ Ｐゴシック" panose="020B0600070205080204" pitchFamily="34" charset="-128"/>
        </a:defRPr>
      </a:lvl3pPr>
      <a:lvl4pPr algn="l" defTabSz="913526" rtl="0" eaLnBrk="0" fontAlgn="base" hangingPunct="0">
        <a:spcBef>
          <a:spcPct val="0"/>
        </a:spcBef>
        <a:spcAft>
          <a:spcPct val="0"/>
        </a:spcAft>
        <a:tabLst>
          <a:tab pos="275353" algn="l"/>
        </a:tabLst>
        <a:defRPr sz="1939" b="1">
          <a:solidFill>
            <a:schemeClr val="tx2"/>
          </a:solidFill>
          <a:latin typeface="Calibri" panose="020F0502020204030204" pitchFamily="34" charset="0"/>
          <a:ea typeface="ＭＳ Ｐゴシック" panose="020B0600070205080204" pitchFamily="34" charset="-128"/>
        </a:defRPr>
      </a:lvl4pPr>
      <a:lvl5pPr algn="l" defTabSz="913526" rtl="0" eaLnBrk="0" fontAlgn="base" hangingPunct="0">
        <a:spcBef>
          <a:spcPct val="0"/>
        </a:spcBef>
        <a:spcAft>
          <a:spcPct val="0"/>
        </a:spcAft>
        <a:tabLst>
          <a:tab pos="275353" algn="l"/>
        </a:tabLst>
        <a:defRPr sz="1939" b="1">
          <a:solidFill>
            <a:schemeClr val="tx2"/>
          </a:solidFill>
          <a:latin typeface="Calibri" panose="020F0502020204030204" pitchFamily="34" charset="0"/>
          <a:ea typeface="ＭＳ Ｐゴシック" panose="020B0600070205080204" pitchFamily="34" charset="-128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197607" indent="-195987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32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2pPr>
      <a:lvl3pPr marL="466481" indent="-267255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32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3pPr>
      <a:lvl4pPr marL="626835" indent="-158733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32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4pPr>
      <a:lvl5pPr marL="764511" indent="-132818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32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95156" y="5119523"/>
            <a:ext cx="9077973" cy="923330"/>
          </a:xfrm>
        </p:spPr>
        <p:txBody>
          <a:bodyPr/>
          <a:lstStyle/>
          <a:p>
            <a:pPr algn="r" eaLnBrk="1" hangingPunct="1">
              <a:defRPr/>
            </a:pPr>
            <a:r>
              <a:rPr lang="en-US" sz="2000" cap="all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PI 2018 </a:t>
            </a:r>
            <a:br>
              <a:rPr lang="en-US" sz="2000" cap="all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2000" cap="all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QUIREMENT STUDY FOR GIS DATA ANALYTIC </a:t>
            </a:r>
            <a:br>
              <a:rPr lang="en-US" sz="2000" cap="all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2000" cap="all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tribution Project Evaluation Template </a:t>
            </a:r>
            <a:r>
              <a:rPr lang="en-US" sz="2000" cap="all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en-US" sz="2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PET)</a:t>
            </a:r>
            <a:endParaRPr lang="en-U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ubtitle 2"/>
          <p:cNvSpPr txBox="1">
            <a:spLocks/>
          </p:cNvSpPr>
          <p:nvPr/>
        </p:nvSpPr>
        <p:spPr bwMode="gray">
          <a:xfrm>
            <a:off x="2130553" y="6296179"/>
            <a:ext cx="994257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accent4"/>
                </a:solidFill>
                <a:latin typeface="Calibri" panose="020F0502020204030204" pitchFamily="34" charset="0"/>
                <a:ea typeface="+mj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 defTabSz="913526">
              <a:buClr>
                <a:srgbClr val="1F497D"/>
              </a:buClr>
              <a:defRPr/>
            </a:pPr>
            <a:r>
              <a:rPr lang="en-US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ik Mohd Fadhil Bin Nik Mohd Kamil</a:t>
            </a:r>
          </a:p>
          <a:p>
            <a:pPr algn="r" defTabSz="913526">
              <a:buClr>
                <a:srgbClr val="1F497D"/>
              </a:buClr>
              <a:defRPr/>
            </a:pPr>
            <a:r>
              <a:rPr lang="en-US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pping 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amp; Analysis Unit, GIS Distribution </a:t>
            </a:r>
            <a:r>
              <a:rPr lang="en-US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ct | </a:t>
            </a:r>
            <a:r>
              <a:rPr lang="en-US" sz="1600" b="1" kern="0" dirty="0" smtClean="0">
                <a:solidFill>
                  <a:srgbClr val="042C7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4 Dec 2018</a:t>
            </a:r>
            <a:endParaRPr lang="en-US" sz="1600" b="1" kern="0" dirty="0">
              <a:solidFill>
                <a:srgbClr val="042C7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6696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52400" y="1305342"/>
            <a:ext cx="1188720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D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ery based on FL No to FL No (Section to Section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PE connected to feeder (GIS tracing, 1st leg, calculate no of PE connected up to off point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 (PE full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- Manually, need to discuss with DA on ERMS data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Feeder Peak MD (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placed Asset Selection (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UG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r ABC) - GIS to determine 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iginal Year Installed (of Replaced asset) - GIS can’t provide data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V Bulk Customers Connected (GIS) without MD, next Data Model need to considered Consumption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calculate based on Tariff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stem Performance Data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GBNET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</a:p>
        </p:txBody>
      </p:sp>
    </p:spTree>
    <p:extLst>
      <p:ext uri="{BB962C8B-B14F-4D97-AF65-F5344CB8AC3E}">
        <p14:creationId xmlns:p14="http://schemas.microsoft.com/office/powerpoint/2010/main" val="372754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2400" y="1443841"/>
            <a:ext cx="118872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E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Feeder length - GIS (PPU to off point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line length (km) to be replaced in this project - Query based on FL No to FL No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Auto-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lose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n the line (Feeder) - GIS (trace by feeder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 of Auto-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lose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full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Manually, need to discuss with DA on ERMS data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Feeder Peak MD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iginal Year Installed - GIS can’t provide data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V Bulk Customers Connected from Feeder - GIS without MD, next Data Model need to considered Consumption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calculate based on Tariff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stem Performance Data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GBNET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 of Breakdown experience in last 12 months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GBNET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292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52400" y="474345"/>
            <a:ext cx="11887200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A</a:t>
            </a:r>
            <a:endParaRPr lang="en-US" sz="1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lvl="0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pe 1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eder Peak MD - </a:t>
            </a:r>
            <a:r>
              <a:rPr lang="en-US" sz="16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ur Section Peak MD - User key-in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need to inform FL for spur S/S. GIS need to trace by section from tee-off point.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 of PE connected  - GIS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 of PE fully </a:t>
            </a:r>
            <a:r>
              <a:rPr lang="en-US" sz="16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sz="16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Manually, need to discuss with DA on ERMS data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sz="16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MV Bulk Customer - GIS (To trace by section from tee-off point).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MD of MD Bulk Customer - BCRM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</a:p>
          <a:p>
            <a:pPr marL="285750" lvl="0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pe 2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eder Peak MD - </a:t>
            </a:r>
            <a:r>
              <a:rPr lang="en-US" sz="16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ur Section Peak MD - User key-in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need to inform FL for spur S/S. GIS need to trace by section from tee-off point.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 of PE connected  - GIS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 of PE fully </a:t>
            </a:r>
            <a:r>
              <a:rPr lang="en-US" sz="16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sz="16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Manually, need to discuss with DA on ERMS data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sz="16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MV Bulk Customer - GIS (To trace by section from tee-off point).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MD of MD Bulk Customer - BCRM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</a:p>
        </p:txBody>
      </p:sp>
    </p:spTree>
    <p:extLst>
      <p:ext uri="{BB962C8B-B14F-4D97-AF65-F5344CB8AC3E}">
        <p14:creationId xmlns:p14="http://schemas.microsoft.com/office/powerpoint/2010/main" val="16962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2400" y="197346"/>
            <a:ext cx="11887200" cy="64633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B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pe 1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eder Peak MD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n-1) element contingency scenario - DNMP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 of PE connected  - GIS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 of PE full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Manually, need to discuss with DA on ERMS data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MV Bulk Customer - GIS (To trace by section from tee-off point).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MD of MD Bulk Customer - BCRM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pe 2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eder Peak MD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n-1) element contingency scenario -  DNMP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 of PE connected  - GIS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 of PE full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Manually, need to discuss with DA on ERMS data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MV Bulk Customer - GIS (To trace by section from tee-off point).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MD of MD Bulk Customer - BCRM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  <a:endParaRPr lang="en-US" b="1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7659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52400" y="335846"/>
            <a:ext cx="11887200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pe 3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eder Peak MD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 of PE connected  - GIS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 of PE full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Manually, need to discuss with DA on ERMS data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MV Bulk Customer - GIS (To trace by section from tee-off point).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MD of MD Bulk Customer - BCRM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WMD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emand Contribution Profile - BCRM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urity analysis during (n-1)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igency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DNMP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pe 4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eder Peak MD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 of PE connected  - GIS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 of PE full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Manually, need to discuss with DA on ERMS data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MV Bulk Customer - GIS (To trace by section from tee-off point).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MD of MD Bulk Customer - BCRM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urity analysis during (n-1)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igency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DNMP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  <a:endParaRPr lang="en-US" b="1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572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2400" y="2551837"/>
            <a:ext cx="118872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C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isting LV Feeder Peak MD (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WMD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sk of Failure (No. of BD in 12 months)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GBNET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</a:p>
        </p:txBody>
      </p:sp>
    </p:spTree>
    <p:extLst>
      <p:ext uri="{BB962C8B-B14F-4D97-AF65-F5344CB8AC3E}">
        <p14:creationId xmlns:p14="http://schemas.microsoft.com/office/powerpoint/2010/main" val="232515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52400" y="474345"/>
            <a:ext cx="11887200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D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pe 1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eder Peak MD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 of PE connected  - GIS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 of PE full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Manually, need to discuss with DA on ERMS data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D Bulk Customer (kW) - BCRM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MV Bulk Customer - GIS (To trace by section from tee-off point)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pe 2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eder Peak MD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 of PE connected  - GIS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 of PE full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Manually, need to discuss with DA on ERMS data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D Bulk Customer (kW) - BCRM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MV Bulk Customer - GIS (To trace by section from tee-off point)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  <a:endParaRPr lang="en-US" b="1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0219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2400" y="612845"/>
            <a:ext cx="11887200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pe 3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eder Peak MD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 of PE connected  - GIS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 of PE full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Manually, need to discuss with DA on ERMS data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D Bulk Customer (kW) - BCRM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MV Bulk Customer - GIS (To trace by section from tee-off point)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pe 4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eder Peak MD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 of PE connected  - GIS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 of PE full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Manually, need to discuss with DA on ERMS data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D Bulk Customer (kW) - BCRM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MV Bulk Customer - GIS (To trace by section from tee-off point)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  <a:endParaRPr lang="en-US" b="1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354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52400" y="1582341"/>
            <a:ext cx="11887200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A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PE connected from Feeder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Feeder length (meter)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 of PE (within feeder)  full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Manually, need to discuss with DA on ERMS data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Feeder Peak MD (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WMD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iginal Year Installed - User need to pass FL, key-in - Manufacture Year (dPET), Commissioned Data (GIS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oute length of cable/line trespass or encroach - User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V Bulk Customer Connected from Feeder 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</a:p>
        </p:txBody>
      </p:sp>
    </p:spTree>
    <p:extLst>
      <p:ext uri="{BB962C8B-B14F-4D97-AF65-F5344CB8AC3E}">
        <p14:creationId xmlns:p14="http://schemas.microsoft.com/office/powerpoint/2010/main" val="4054974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80219" y="1443841"/>
            <a:ext cx="11533239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B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PE connected from Feeder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Feeder length (meter)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 of PE (within feeder)  full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Manually, need to discuss with DA on ERMS data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Feeder Peak MD (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WMD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iginal Year Installed - User need to pass FL, key-in - Manufacture Year (dPET), Commissioned Data (GIS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oute length of cable/line trespass or encroach - User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V Bulk Customer Connected from Feeder 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</a:p>
        </p:txBody>
      </p:sp>
    </p:spTree>
    <p:extLst>
      <p:ext uri="{BB962C8B-B14F-4D97-AF65-F5344CB8AC3E}">
        <p14:creationId xmlns:p14="http://schemas.microsoft.com/office/powerpoint/2010/main" val="1682424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809369"/>
            <a:ext cx="12192000" cy="54864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BLE OF CONTENT</a:t>
            </a:r>
            <a:endParaRPr lang="en-US" sz="3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55077820"/>
              </p:ext>
            </p:extLst>
          </p:nvPr>
        </p:nvGraphicFramePr>
        <p:xfrm>
          <a:off x="152400" y="2057400"/>
          <a:ext cx="11887200" cy="274320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762228">
                  <a:extLst>
                    <a:ext uri="{9D8B030D-6E8A-4147-A177-3AD203B41FA5}">
                      <a16:colId xmlns:a16="http://schemas.microsoft.com/office/drawing/2014/main" val="2707649039"/>
                    </a:ext>
                  </a:extLst>
                </a:gridCol>
                <a:gridCol w="9688324">
                  <a:extLst>
                    <a:ext uri="{9D8B030D-6E8A-4147-A177-3AD203B41FA5}">
                      <a16:colId xmlns:a16="http://schemas.microsoft.com/office/drawing/2014/main" val="4089266019"/>
                    </a:ext>
                  </a:extLst>
                </a:gridCol>
                <a:gridCol w="1436648">
                  <a:extLst>
                    <a:ext uri="{9D8B030D-6E8A-4147-A177-3AD203B41FA5}">
                      <a16:colId xmlns:a16="http://schemas.microsoft.com/office/drawing/2014/main" val="3215620487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cap="all" baseline="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</a:t>
                      </a:r>
                      <a:endParaRPr lang="en-US" sz="1800" b="1" i="0" u="none" strike="noStrike" cap="all" baseline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 cap="all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ENT</a:t>
                      </a:r>
                      <a:endParaRPr lang="en-US" sz="1800" b="1" i="0" u="none" strike="noStrike" cap="all" baseline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cap="all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LIDE NO</a:t>
                      </a:r>
                      <a:endParaRPr lang="en-US" sz="1800" b="1" i="0" u="none" strike="noStrike" cap="all" baseline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589272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JECTI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39886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FFICIAL MEETING CONDUCTED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617383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FERENC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4151650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INDING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0430043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WAY FORWARD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778193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3347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42452" y="1443841"/>
            <a:ext cx="11356258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C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PE connected from Feeder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Feeder length (meter)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 of PE (within feeder) full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Manually, need to discuss with DA on ERMS data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H-Pole (within feeder) -GIS (S/S type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Feeder Peak MD (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WMD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Average) Year of MV Network is installed - GIS (Use H-Pole year of commissioned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V Bulk Customer Connected from Feeder 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</a:p>
        </p:txBody>
      </p:sp>
    </p:spTree>
    <p:extLst>
      <p:ext uri="{BB962C8B-B14F-4D97-AF65-F5344CB8AC3E}">
        <p14:creationId xmlns:p14="http://schemas.microsoft.com/office/powerpoint/2010/main" val="183139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2400" y="2274838"/>
            <a:ext cx="118872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A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nsformer Peak MD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nsformer Capacity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nsformer Manufacturing Year - Manufacture Year (dPET), Commissioned Data (GIS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</p:txBody>
      </p:sp>
    </p:spTree>
    <p:extLst>
      <p:ext uri="{BB962C8B-B14F-4D97-AF65-F5344CB8AC3E}">
        <p14:creationId xmlns:p14="http://schemas.microsoft.com/office/powerpoint/2010/main" val="215461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2400" y="2136339"/>
            <a:ext cx="11887200" cy="258532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B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nsformer Peak MD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nsformer Capacity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nsformer Manufacturing Year - Manufacture Year (dPET), Commissioned Data (GIS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</p:txBody>
      </p:sp>
    </p:spTree>
    <p:extLst>
      <p:ext uri="{BB962C8B-B14F-4D97-AF65-F5344CB8AC3E}">
        <p14:creationId xmlns:p14="http://schemas.microsoft.com/office/powerpoint/2010/main" val="1197930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2400" y="1720840"/>
            <a:ext cx="11887200" cy="286232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C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PE connected from Feeder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Feeder length (meter)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Feeder Peak MD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V Bulk Customer Connected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stem Fault Level - Adept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derated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quipment's short-circuit - DNMP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quipment Manufacturing -  Manufacture Year (dPET), Commissioned Data (GIS)</a:t>
            </a:r>
          </a:p>
        </p:txBody>
      </p:sp>
    </p:spTree>
    <p:extLst>
      <p:ext uri="{BB962C8B-B14F-4D97-AF65-F5344CB8AC3E}">
        <p14:creationId xmlns:p14="http://schemas.microsoft.com/office/powerpoint/2010/main" val="3621991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2400" y="2690336"/>
            <a:ext cx="118872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A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FI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r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FI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set) to be installed - User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No. of PE (in Kawasan)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No. of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FI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r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FI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set) already installed in the system - User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IDI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Kawasan (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nualised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  - Users</a:t>
            </a:r>
          </a:p>
        </p:txBody>
      </p:sp>
    </p:spTree>
    <p:extLst>
      <p:ext uri="{BB962C8B-B14F-4D97-AF65-F5344CB8AC3E}">
        <p14:creationId xmlns:p14="http://schemas.microsoft.com/office/powerpoint/2010/main" val="139567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2400" y="1305342"/>
            <a:ext cx="11887200" cy="34163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B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No. of Motorized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MU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lanned in this project - User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No. of Feeders (s) involved in this installation - User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No. of Pes supplied from the related Feeder (s) 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erage Network age (key in Years installed) -  Key-in existing FL &amp;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Q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No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MU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and then calculate average of commissioned date.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Feeder Peak MD (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WMD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of the related Feeders (s) - 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V Bulk Customer MD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s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MV Bulk Customer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</a:p>
        </p:txBody>
      </p:sp>
    </p:spTree>
    <p:extLst>
      <p:ext uri="{BB962C8B-B14F-4D97-AF65-F5344CB8AC3E}">
        <p14:creationId xmlns:p14="http://schemas.microsoft.com/office/powerpoint/2010/main" val="2345744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2400" y="1997839"/>
            <a:ext cx="11887200" cy="258532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C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 key-in FL s/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ak Load MD of SSU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ear of Network installed - Comm. Date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s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MV Bulk Customer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MD of MV Bulk Customer - BCRM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</a:p>
        </p:txBody>
      </p:sp>
    </p:spTree>
    <p:extLst>
      <p:ext uri="{BB962C8B-B14F-4D97-AF65-F5344CB8AC3E}">
        <p14:creationId xmlns:p14="http://schemas.microsoft.com/office/powerpoint/2010/main" val="253420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52400" y="2136339"/>
            <a:ext cx="11887200" cy="258532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D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PE connected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 of PE (within feeder)  full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Manually, need to discuss with DA on ERMS data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Feeder Peak MD - 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erage age of Network - GIS (Comm. Date)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V Bulk Customer Connected - GIS 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GIS (To trace by section from tee-off point)</a:t>
            </a:r>
          </a:p>
        </p:txBody>
      </p:sp>
    </p:spTree>
    <p:extLst>
      <p:ext uri="{BB962C8B-B14F-4D97-AF65-F5344CB8AC3E}">
        <p14:creationId xmlns:p14="http://schemas.microsoft.com/office/powerpoint/2010/main" val="269578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2400" y="2690336"/>
            <a:ext cx="118872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F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BS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installed - User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No. of PE (in Kawasan) - GI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No. of PAT without Isolator (i.e. Direct Jumper) - User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IDI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Kawasan (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nualised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m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cm  diatas</a:t>
            </a:r>
          </a:p>
        </p:txBody>
      </p:sp>
    </p:spTree>
    <p:extLst>
      <p:ext uri="{BB962C8B-B14F-4D97-AF65-F5344CB8AC3E}">
        <p14:creationId xmlns:p14="http://schemas.microsoft.com/office/powerpoint/2010/main" val="2716244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2400" y="2274838"/>
            <a:ext cx="118872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A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Cap Bank to be installed - User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ting of each Cap Bank - User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erage demand (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WMD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existing PE - User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erage power factor of existing PE - Users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Demand loss (kW) of Existing network / installation 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Demand loss (kW) of new network / installation (after mitigation) - Users</a:t>
            </a:r>
          </a:p>
        </p:txBody>
      </p:sp>
    </p:spTree>
    <p:extLst>
      <p:ext uri="{BB962C8B-B14F-4D97-AF65-F5344CB8AC3E}">
        <p14:creationId xmlns:p14="http://schemas.microsoft.com/office/powerpoint/2010/main" val="61623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27355"/>
            <a:ext cx="12192000" cy="54864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1 OBJECTIVES</a:t>
            </a:r>
            <a:endParaRPr lang="en-US" sz="3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63377573"/>
              </p:ext>
            </p:extLst>
          </p:nvPr>
        </p:nvGraphicFramePr>
        <p:xfrm>
          <a:off x="152400" y="2514600"/>
          <a:ext cx="11887200" cy="182880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013597">
                  <a:extLst>
                    <a:ext uri="{9D8B030D-6E8A-4147-A177-3AD203B41FA5}">
                      <a16:colId xmlns:a16="http://schemas.microsoft.com/office/drawing/2014/main" val="2707649039"/>
                    </a:ext>
                  </a:extLst>
                </a:gridCol>
                <a:gridCol w="10873603">
                  <a:extLst>
                    <a:ext uri="{9D8B030D-6E8A-4147-A177-3AD203B41FA5}">
                      <a16:colId xmlns:a16="http://schemas.microsoft.com/office/drawing/2014/main" val="4089266019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</a:t>
                      </a:r>
                      <a:endParaRPr lang="en-US" sz="20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JECTIVE</a:t>
                      </a:r>
                      <a:endParaRPr lang="en-US" sz="20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589272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 study existing dPET template and related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ocuments</a:t>
                      </a:r>
                      <a:endParaRPr lang="en-US" sz="2000" b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39886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 gather user requirement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for GIS use in dPET</a:t>
                      </a:r>
                      <a:endParaRPr lang="en-US" sz="20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617383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 get way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forwards of GIS use in dPET</a:t>
                      </a:r>
                      <a:endParaRPr lang="en-US" sz="2000" b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415165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7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2400" y="1859340"/>
            <a:ext cx="11887200" cy="3139321"/>
          </a:xfrm>
          <a:prstGeom prst="rect">
            <a:avLst/>
          </a:prstGeom>
        </p:spPr>
        <p:txBody>
          <a:bodyPr>
            <a:spAutoFit/>
          </a:bodyPr>
          <a:lstStyle/>
          <a:p>
            <a:pPr marR="0" lvl="0" fontAlgn="ctr">
              <a:spcBef>
                <a:spcPts val="0"/>
              </a:spcBef>
              <a:spcAft>
                <a:spcPts val="0"/>
              </a:spcAft>
              <a:buSzPts val="1000"/>
              <a:tabLst>
                <a:tab pos="457200" algn="l"/>
              </a:tabLst>
            </a:pP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B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800100" lvl="1" indent="-342900" fontAlgn="ctr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eder Peak MD (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WMD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800100" lvl="1" indent="-342900" fontAlgn="ctr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lk Customer MD Connected - GIS</a:t>
            </a:r>
          </a:p>
          <a:p>
            <a:pPr marL="800100" lvl="1" indent="-342900" fontAlgn="ctr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PE connected - GIS</a:t>
            </a:r>
          </a:p>
          <a:p>
            <a:pPr marL="800100" lvl="1" indent="-342900" fontAlgn="ctr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customer (MV Bulk) - GIS</a:t>
            </a:r>
          </a:p>
          <a:p>
            <a:pPr marL="800100" lvl="1" indent="-342900" fontAlgn="ctr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. of customer (LV) - GIS</a:t>
            </a:r>
          </a:p>
          <a:p>
            <a:pPr marL="800100" lvl="1" indent="-342900" fontAlgn="ctr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sk to Failure - seperti diatas</a:t>
            </a:r>
          </a:p>
          <a:p>
            <a:pPr marL="800100" lvl="1" indent="-342900" fontAlgn="ctr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erage Outage Duration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GBNET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800100" lvl="1" indent="-342900" fontAlgn="ctr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intenance Cost per year  - Users</a:t>
            </a:r>
          </a:p>
          <a:p>
            <a:pPr marL="800100" lvl="1" indent="-342900" fontAlgn="ctr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Losses - Adept</a:t>
            </a:r>
          </a:p>
          <a:p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8716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3154680"/>
            <a:ext cx="12192000" cy="54864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5 WAY FORWARDS</a:t>
            </a:r>
            <a:endParaRPr lang="en-US" sz="3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147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1308819" y="110613"/>
            <a:ext cx="9574362" cy="6636774"/>
            <a:chOff x="126590" y="103239"/>
            <a:chExt cx="9574362" cy="6636774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6590" y="103239"/>
              <a:ext cx="9574362" cy="6636774"/>
            </a:xfrm>
            <a:prstGeom prst="rect">
              <a:avLst/>
            </a:prstGeom>
          </p:spPr>
        </p:pic>
        <p:sp>
          <p:nvSpPr>
            <p:cNvPr id="5" name="Rectangle 4"/>
            <p:cNvSpPr/>
            <p:nvPr/>
          </p:nvSpPr>
          <p:spPr>
            <a:xfrm>
              <a:off x="1755058" y="693174"/>
              <a:ext cx="1165123" cy="840658"/>
            </a:xfrm>
            <a:prstGeom prst="rect">
              <a:avLst/>
            </a:prstGeom>
            <a:noFill/>
            <a:ln w="38100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3035577" y="897346"/>
              <a:ext cx="30702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rgbClr val="FF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o get data from GIS</a:t>
              </a:r>
              <a:endParaRPr lang="en-US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5506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25911"/>
            <a:ext cx="12192000" cy="54864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2 OFFICIAL MEETING CONDUCTED</a:t>
            </a:r>
            <a:endParaRPr lang="en-US" sz="3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80009552"/>
              </p:ext>
            </p:extLst>
          </p:nvPr>
        </p:nvGraphicFramePr>
        <p:xfrm>
          <a:off x="152400" y="1485122"/>
          <a:ext cx="11887200" cy="4192557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3059914">
                  <a:extLst>
                    <a:ext uri="{9D8B030D-6E8A-4147-A177-3AD203B41FA5}">
                      <a16:colId xmlns:a16="http://schemas.microsoft.com/office/drawing/2014/main" val="4089266019"/>
                    </a:ext>
                  </a:extLst>
                </a:gridCol>
                <a:gridCol w="8827286">
                  <a:extLst>
                    <a:ext uri="{9D8B030D-6E8A-4147-A177-3AD203B41FA5}">
                      <a16:colId xmlns:a16="http://schemas.microsoft.com/office/drawing/2014/main" val="1084252684"/>
                    </a:ext>
                  </a:extLst>
                </a:gridCol>
              </a:tblGrid>
              <a:tr h="525432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ate</a:t>
                      </a:r>
                      <a:endParaRPr lang="en-US" sz="20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ttendance</a:t>
                      </a:r>
                      <a:endParaRPr lang="en-US" sz="20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5892726"/>
                  </a:ext>
                </a:extLst>
              </a:tr>
              <a:tr h="13716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4 July 2018 @ </a:t>
                      </a:r>
                    </a:p>
                    <a:p>
                      <a:pPr algn="ctr" fontAlgn="b"/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NB Banda </a:t>
                      </a:r>
                      <a:r>
                        <a:rPr lang="en-US" sz="2000" b="1" u="none" strike="noStrike" baseline="0" dirty="0" err="1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aba</a:t>
                      </a:r>
                      <a:endParaRPr lang="en-US" sz="2000" b="1" u="none" strike="noStrike" baseline="0" dirty="0" smtClean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742950" marR="0" lvl="1" indent="-2857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ik Mohd Fadhil Bin Nik Mohd Kamil (GIS D)</a:t>
                      </a:r>
                    </a:p>
                    <a:p>
                      <a:pPr marL="800100" marR="0" lvl="1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pping &amp; Analysis Technician (GIS D)</a:t>
                      </a:r>
                    </a:p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asliana Binti Mohamad (GIS D)</a:t>
                      </a:r>
                    </a:p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hd Saiful Anuar bin Mohd Rapheal (GIS D)</a:t>
                      </a:r>
                    </a:p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ozana binti Romainor (GIS D)</a:t>
                      </a:r>
                    </a:p>
                    <a:p>
                      <a:pPr marL="457200" lvl="1" indent="0" algn="l" fontAlgn="b">
                        <a:buFont typeface="Arial" panose="020B0604020202020204" pitchFamily="34" charset="0"/>
                        <a:buNone/>
                      </a:pPr>
                      <a:endParaRPr lang="en-US" sz="2000" b="1" u="none" strike="noStrike" baseline="0" dirty="0" smtClean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742950" marR="0" lvl="1" indent="-2857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hamad Izham b. Pazarizal (Cheras)</a:t>
                      </a:r>
                    </a:p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Zulhairi Wan Mat (Cheras)</a:t>
                      </a:r>
                    </a:p>
                    <a:p>
                      <a:pPr marL="742950" marR="0" lvl="1" indent="-2857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uhammad Izzat b. Mukhtar (Cheras)</a:t>
                      </a:r>
                    </a:p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izat b. Noor Azmi (Petaling Jaya)</a:t>
                      </a:r>
                    </a:p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hamad Izham b. Pazarizal </a:t>
                      </a: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(Cheras)</a:t>
                      </a:r>
                      <a:endParaRPr lang="en-US" sz="2000" b="1" u="none" strike="noStrike" baseline="0" dirty="0" smtClean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dawati binti Muhammad Sam (</a:t>
                      </a:r>
                      <a:r>
                        <a:rPr lang="en-US" sz="2000" b="1" u="none" strike="noStrike" baseline="0" dirty="0" err="1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awang</a:t>
                      </a: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3988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401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765121"/>
            <a:ext cx="12192000" cy="54864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3 REFERENCES</a:t>
            </a:r>
            <a:endParaRPr lang="en-US" sz="3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73972894"/>
              </p:ext>
            </p:extLst>
          </p:nvPr>
        </p:nvGraphicFramePr>
        <p:xfrm>
          <a:off x="152400" y="1535360"/>
          <a:ext cx="11887200" cy="378728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984390">
                  <a:extLst>
                    <a:ext uri="{9D8B030D-6E8A-4147-A177-3AD203B41FA5}">
                      <a16:colId xmlns:a16="http://schemas.microsoft.com/office/drawing/2014/main" val="2707649039"/>
                    </a:ext>
                  </a:extLst>
                </a:gridCol>
                <a:gridCol w="10902810">
                  <a:extLst>
                    <a:ext uri="{9D8B030D-6E8A-4147-A177-3AD203B41FA5}">
                      <a16:colId xmlns:a16="http://schemas.microsoft.com/office/drawing/2014/main" val="4089266019"/>
                    </a:ext>
                  </a:extLst>
                </a:gridCol>
              </a:tblGrid>
              <a:tr h="4488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</a:t>
                      </a:r>
                      <a:endParaRPr lang="en-US" sz="20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OURCE</a:t>
                      </a:r>
                      <a:endParaRPr lang="en-US" sz="20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5892726"/>
                  </a:ext>
                </a:extLst>
              </a:tr>
              <a:tr h="4488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istribution Project Evaluation Template (Asset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Management Dept.)</a:t>
                      </a:r>
                      <a:endParaRPr lang="en-US" sz="2000" b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3988682"/>
                  </a:ext>
                </a:extLst>
              </a:tr>
              <a:tr h="4488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istribution Planners Handbook (Asset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Management Dept.)</a:t>
                      </a:r>
                      <a:endParaRPr lang="en-US" sz="2000" b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6173838"/>
                  </a:ext>
                </a:extLst>
              </a:tr>
              <a:tr h="4488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enggunaan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Template Penilaian Projek (dPET) dalam Proses Perancangan dan Penilaian Projek Pembaikan Sistem Bahagian Pembahagian TNB – </a:t>
                      </a:r>
                      <a:r>
                        <a:rPr lang="en-US" sz="2000" b="1" baseline="0" dirty="0" err="1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il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. </a:t>
                      </a:r>
                      <a:r>
                        <a:rPr lang="en-US" sz="2000" b="1" baseline="0" dirty="0" err="1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39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/2012 </a:t>
                      </a:r>
                      <a:endParaRPr lang="en-US" sz="2000" b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45917433"/>
                  </a:ext>
                </a:extLst>
              </a:tr>
              <a:tr h="4488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3kV Distribution Network Master Plan Process Flow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91434332"/>
                  </a:ext>
                </a:extLst>
              </a:tr>
              <a:tr h="4488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err="1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sedur</a:t>
                      </a: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erancangan Projek Sistem 33KV Dan </a:t>
                      </a:r>
                      <a:r>
                        <a:rPr lang="en-US" sz="2000" b="1" dirty="0" err="1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enubuhan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PU </a:t>
                      </a: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(</a:t>
                      </a:r>
                      <a:r>
                        <a:rPr lang="en-US" sz="2000" b="1" dirty="0" err="1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NGR</a:t>
                      </a: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-750-57)</a:t>
                      </a:r>
                      <a:endParaRPr lang="en-US" sz="2000" b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5081427"/>
                  </a:ext>
                </a:extLst>
              </a:tr>
              <a:tr h="4488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err="1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sedur</a:t>
                      </a:r>
                      <a:r>
                        <a:rPr lang="nn-NO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engurusaan</a:t>
                      </a:r>
                      <a:r>
                        <a:rPr lang="nn-NO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Kehilangan Tenaga Teknikal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(</a:t>
                      </a:r>
                      <a:r>
                        <a:rPr lang="en-US" sz="2000" b="1" baseline="0" dirty="0" err="1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NGR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-750-83)</a:t>
                      </a:r>
                      <a:endParaRPr lang="nn-NO" sz="2000" b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476243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473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3154680"/>
            <a:ext cx="12192000" cy="54864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4 FINDINGS</a:t>
            </a:r>
            <a:endParaRPr lang="en-US" sz="3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819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561975"/>
            <a:ext cx="9363075" cy="573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141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40693916"/>
              </p:ext>
            </p:extLst>
          </p:nvPr>
        </p:nvGraphicFramePr>
        <p:xfrm>
          <a:off x="245805" y="278310"/>
          <a:ext cx="11636940" cy="1767840"/>
        </p:xfrm>
        <a:graphic>
          <a:graphicData uri="http://schemas.openxmlformats.org/drawingml/2006/table">
            <a:tbl>
              <a:tblPr firstRow="1" firstCol="1" bandRow="1">
                <a:tableStyleId>{073A0DAA-6AF3-43AB-8588-CEC1D06C72B9}</a:tableStyleId>
              </a:tblPr>
              <a:tblGrid>
                <a:gridCol w="1231015">
                  <a:extLst>
                    <a:ext uri="{9D8B030D-6E8A-4147-A177-3AD203B41FA5}">
                      <a16:colId xmlns:a16="http://schemas.microsoft.com/office/drawing/2014/main" val="362827046"/>
                    </a:ext>
                  </a:extLst>
                </a:gridCol>
                <a:gridCol w="1266920">
                  <a:extLst>
                    <a:ext uri="{9D8B030D-6E8A-4147-A177-3AD203B41FA5}">
                      <a16:colId xmlns:a16="http://schemas.microsoft.com/office/drawing/2014/main" val="1913980290"/>
                    </a:ext>
                  </a:extLst>
                </a:gridCol>
                <a:gridCol w="1369504">
                  <a:extLst>
                    <a:ext uri="{9D8B030D-6E8A-4147-A177-3AD203B41FA5}">
                      <a16:colId xmlns:a16="http://schemas.microsoft.com/office/drawing/2014/main" val="3417134669"/>
                    </a:ext>
                  </a:extLst>
                </a:gridCol>
                <a:gridCol w="3077538">
                  <a:extLst>
                    <a:ext uri="{9D8B030D-6E8A-4147-A177-3AD203B41FA5}">
                      <a16:colId xmlns:a16="http://schemas.microsoft.com/office/drawing/2014/main" val="4059468026"/>
                    </a:ext>
                  </a:extLst>
                </a:gridCol>
                <a:gridCol w="2644118">
                  <a:extLst>
                    <a:ext uri="{9D8B030D-6E8A-4147-A177-3AD203B41FA5}">
                      <a16:colId xmlns:a16="http://schemas.microsoft.com/office/drawing/2014/main" val="778915360"/>
                    </a:ext>
                  </a:extLst>
                </a:gridCol>
                <a:gridCol w="2047845">
                  <a:extLst>
                    <a:ext uri="{9D8B030D-6E8A-4147-A177-3AD203B41FA5}">
                      <a16:colId xmlns:a16="http://schemas.microsoft.com/office/drawing/2014/main" val="9215359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CB No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FL 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EQ NO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Outgoing or Incoming?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Total PE connected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DA? (Yes or No)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extLst>
                  <a:ext uri="{0D108BD9-81ED-4DB2-BD59-A6C34878D82A}">
                    <a16:rowId xmlns:a16="http://schemas.microsoft.com/office/drawing/2014/main" val="40237086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CB 1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XXXXXX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YYYYYYY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Incoming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No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Yes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extLst>
                  <a:ext uri="{0D108BD9-81ED-4DB2-BD59-A6C34878D82A}">
                    <a16:rowId xmlns:a16="http://schemas.microsoft.com/office/drawing/2014/main" val="17426916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CB 2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XXXXXX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YYYYYYY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Incoming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No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Yes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extLst>
                  <a:ext uri="{0D108BD9-81ED-4DB2-BD59-A6C34878D82A}">
                    <a16:rowId xmlns:a16="http://schemas.microsoft.com/office/drawing/2014/main" val="40987206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CB 3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XXXXXX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YYYYYYY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Outgoing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Yes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No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extLst>
                  <a:ext uri="{0D108BD9-81ED-4DB2-BD59-A6C34878D82A}">
                    <a16:rowId xmlns:a16="http://schemas.microsoft.com/office/drawing/2014/main" val="38828494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CB 4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XXXXXX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YYYYYYY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Outgoing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Yes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Yes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extLst>
                  <a:ext uri="{0D108BD9-81ED-4DB2-BD59-A6C34878D82A}">
                    <a16:rowId xmlns:a16="http://schemas.microsoft.com/office/drawing/2014/main" val="31795232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CB 5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XXXXXX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YYYYYYY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Outgoing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Yes</a:t>
                      </a:r>
                      <a:endParaRPr lang="en-US" sz="16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No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8100" marR="38100" marT="25400" marB="25400"/>
                </a:tc>
                <a:extLst>
                  <a:ext uri="{0D108BD9-81ED-4DB2-BD59-A6C34878D82A}">
                    <a16:rowId xmlns:a16="http://schemas.microsoft.com/office/drawing/2014/main" val="3992135098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147480" y="2286531"/>
            <a:ext cx="1188720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A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ak MD -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ery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Q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No &amp; F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ufacture Year (dPET), Commissioned Data (GIS)</a:t>
            </a:r>
          </a:p>
          <a:p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</a:t>
            </a:r>
          </a:p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B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ery by FL &amp;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Q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No C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 (PE full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- Manually, need to discuss with DA on ERMS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ufacture Year (dPET), Commissioned Data (GI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V Bulk Customers Connected (GIS) without MD, next Data Model need to considered Consum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calculate based on </a:t>
            </a: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riff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5784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52400" y="1443841"/>
            <a:ext cx="118872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C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ery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Q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No &amp; FL of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MU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twork Type (GI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s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PE connected to feeder (GIS tracing, 1st leg, calculate no of PE connected up to off poi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 (PE full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ADA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trolled by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CC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- Manually, need to discuss with DA on ERMS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Feeder Peak MD (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MAS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ufacture Year (dPET), Commissioned Data (GI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y Area - need to check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a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V Bulk Customers Connected (GIS) without MD, next Data Model need to considered Consum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Contribution Profile - calculate based on </a:t>
            </a: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riff</a:t>
            </a: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179378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L6Qkkz6kKGmPOpLa6.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GNuqw4lE2PEkA4_Fvk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jrkqkH30e6Jt7UzxiZ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xvrBbg3U.kgrg1wFol2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GVMiDqI06manaXfIwh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UcFxQ9LUOPgklmZbZ05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48aMy_REKFePesioOI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N.X4GEj0O27y8e67V6m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KoVuKSAkuAwUggqBnY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CIZmZSC06NQoupCYpi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xmJ7Dgf0mzk_u7sVs0D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TLvg4OBEaw7KRold4B0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C1y0adAEmlPpNnDgw3q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s3GuXbkSUf4DXwi5S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VA1IoDOEG5zzkqP8yQF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m6uPOVnUKe4y9G5Ci9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OewTOLsEWynmD9nUrT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5iXMDUA068H1HIUQaz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SS0K7Sbk.bzBIIIEKO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TLvg4OBEaw7KRold4B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2CRC7sQ0i_iciktWpn.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PCM_CF_KLO255 V1">
  <a:themeElements>
    <a:clrScheme name="Current">
      <a:dk1>
        <a:srgbClr val="000000"/>
      </a:dk1>
      <a:lt1>
        <a:srgbClr val="FFFFFF"/>
      </a:lt1>
      <a:dk2>
        <a:srgbClr val="042C75"/>
      </a:dk2>
      <a:lt2>
        <a:srgbClr val="FFFFFF"/>
      </a:lt2>
      <a:accent1>
        <a:srgbClr val="CFDBE1"/>
      </a:accent1>
      <a:accent2>
        <a:srgbClr val="7896C4"/>
      </a:accent2>
      <a:accent3>
        <a:srgbClr val="3D61A7"/>
      </a:accent3>
      <a:accent4>
        <a:srgbClr val="042C75"/>
      </a:accent4>
      <a:accent5>
        <a:srgbClr val="FF6600"/>
      </a:accent5>
      <a:accent6>
        <a:srgbClr val="808080"/>
      </a:accent6>
      <a:hlink>
        <a:srgbClr val="3D61A7"/>
      </a:hlink>
      <a:folHlink>
        <a:srgbClr val="042C75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PCM_CF_KLO255 V1 1">
        <a:dk1>
          <a:srgbClr val="000000"/>
        </a:dk1>
        <a:lt1>
          <a:srgbClr val="FFFFFF"/>
        </a:lt1>
        <a:dk2>
          <a:srgbClr val="042C75"/>
        </a:dk2>
        <a:lt2>
          <a:srgbClr val="FFFFFF"/>
        </a:lt2>
        <a:accent1>
          <a:srgbClr val="CFDBE1"/>
        </a:accent1>
        <a:accent2>
          <a:srgbClr val="7896C4"/>
        </a:accent2>
        <a:accent3>
          <a:srgbClr val="FFFFFF"/>
        </a:accent3>
        <a:accent4>
          <a:srgbClr val="000000"/>
        </a:accent4>
        <a:accent5>
          <a:srgbClr val="E4EAEE"/>
        </a:accent5>
        <a:accent6>
          <a:srgbClr val="6C87B1"/>
        </a:accent6>
        <a:hlink>
          <a:srgbClr val="3D61A7"/>
        </a:hlink>
        <a:folHlink>
          <a:srgbClr val="042C7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93</TotalTime>
  <Words>1504</Words>
  <Application>Microsoft Office PowerPoint</Application>
  <PresentationFormat>Widescreen</PresentationFormat>
  <Paragraphs>368</Paragraphs>
  <Slides>3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2" baseType="lpstr">
      <vt:lpstr>ＭＳ Ｐゴシック</vt:lpstr>
      <vt:lpstr>Arial</vt:lpstr>
      <vt:lpstr>Calibri</vt:lpstr>
      <vt:lpstr>Calibri Light</vt:lpstr>
      <vt:lpstr>Courier New</vt:lpstr>
      <vt:lpstr>Symbol</vt:lpstr>
      <vt:lpstr>Verdana</vt:lpstr>
      <vt:lpstr>Office Theme</vt:lpstr>
      <vt:lpstr>TPCM_CF_KLO255 V1</vt:lpstr>
      <vt:lpstr>think-cell Slide</vt:lpstr>
      <vt:lpstr>KPI 2018  REQUIREMENT STUDY FOR GIS DATA ANALYTIC  Distribution Project Evaluation Template (dPET)</vt:lpstr>
      <vt:lpstr>TABLE OF CONTENT</vt:lpstr>
      <vt:lpstr>#1 OBJECTIVES</vt:lpstr>
      <vt:lpstr>#2 OFFICIAL MEETING CONDUCTED</vt:lpstr>
      <vt:lpstr>#3 REFERENCES</vt:lpstr>
      <vt:lpstr>#4 FINDING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#5 WAY FORWARD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k Mohd Fadhil bin Nik Mohd Kamil</dc:creator>
  <cp:lastModifiedBy>Nik Mohd Fadhil bin Nik Mohd Kamil</cp:lastModifiedBy>
  <cp:revision>124</cp:revision>
  <dcterms:created xsi:type="dcterms:W3CDTF">2018-03-14T08:07:11Z</dcterms:created>
  <dcterms:modified xsi:type="dcterms:W3CDTF">2018-12-25T01:38:09Z</dcterms:modified>
</cp:coreProperties>
</file>